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375081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64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A5C"/>
    <a:srgbClr val="2683C6"/>
    <a:srgbClr val="FF3902"/>
    <a:srgbClr val="2B4871"/>
    <a:srgbClr val="FF8867"/>
    <a:srgbClr val="05BADD"/>
    <a:srgbClr val="FEF1DA"/>
    <a:srgbClr val="FFB404"/>
    <a:srgbClr val="F2F2F2"/>
    <a:srgbClr val="FF8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5" autoAdjust="0"/>
    <p:restoredTop sz="94719"/>
  </p:normalViewPr>
  <p:slideViewPr>
    <p:cSldViewPr snapToGrid="0">
      <p:cViewPr varScale="1">
        <p:scale>
          <a:sx n="105" d="100"/>
          <a:sy n="105" d="100"/>
        </p:scale>
        <p:origin x="468" y="96"/>
      </p:cViewPr>
      <p:guideLst>
        <p:guide pos="3864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1E8393-A5AD-6950-6709-404557772EF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1C2D59-81EC-CEE5-EDE2-16D0CBA109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8D2EF-A13A-4320-A2BE-9A5A823B592B}" type="datetimeFigureOut">
              <a:rPr lang="en-SG" smtClean="0"/>
              <a:t>14/10/2025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7BA8F-7A48-4B25-7225-03BCAF276F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0B075-D097-07A7-B579-C6289F1B66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0A54C-7E84-4A96-95A9-A78BFDA2AAE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211807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2485F5-2DBA-4A69-B0BC-0E1C482526BB}" type="datetimeFigureOut">
              <a:rPr lang="en-US" smtClean="0"/>
              <a:t>10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A217B-6B37-4B6C-95DA-B2933D371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66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6AB0C77-779C-4A54-B4CE-0B85EED3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107327"/>
            <a:ext cx="11344112" cy="73447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01453-F71C-4C51-9C43-7AD61258D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099" y="1262063"/>
            <a:ext cx="11343363" cy="380841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D90400-E7FB-45E1-BB98-088160338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6578248"/>
            <a:ext cx="345162" cy="20707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50">
                <a:solidFill>
                  <a:schemeClr val="accent1"/>
                </a:solidFill>
                <a:latin typeface="+mj-lt"/>
              </a:defRPr>
            </a:lvl1pPr>
          </a:lstStyle>
          <a:p>
            <a:fld id="{4145DBE5-F440-4DC1-86E2-EA4CF186D2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C448E-F1E7-1AAF-02B4-CCDFE06164CF}"/>
              </a:ext>
            </a:extLst>
          </p:cNvPr>
          <p:cNvCxnSpPr/>
          <p:nvPr userDrawn="1"/>
        </p:nvCxnSpPr>
        <p:spPr>
          <a:xfrm>
            <a:off x="419099" y="841797"/>
            <a:ext cx="11343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3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chemeClr val="accent3">
                <a:lumMod val="20000"/>
                <a:lumOff val="80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BBF098-4E0B-C383-30F1-C09CD59B7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BF098-4E0B-C383-30F1-C09CD59B7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570F228-84E4-D963-B626-1713032BAE30}"/>
              </a:ext>
            </a:extLst>
          </p:cNvPr>
          <p:cNvSpPr/>
          <p:nvPr userDrawn="1"/>
        </p:nvSpPr>
        <p:spPr>
          <a:xfrm>
            <a:off x="0" y="6505574"/>
            <a:ext cx="100013" cy="352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51B8B5-E89B-7763-1B84-F93ECF77D14F}"/>
              </a:ext>
            </a:extLst>
          </p:cNvPr>
          <p:cNvSpPr/>
          <p:nvPr userDrawn="1"/>
        </p:nvSpPr>
        <p:spPr>
          <a:xfrm>
            <a:off x="12071351" y="0"/>
            <a:ext cx="120649" cy="650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30" userDrawn="1">
          <p15:clr>
            <a:srgbClr val="FBAE40"/>
          </p15:clr>
        </p15:guide>
        <p15:guide id="2" pos="262" userDrawn="1">
          <p15:clr>
            <a:srgbClr val="FBAE40"/>
          </p15:clr>
        </p15:guide>
        <p15:guide id="3" pos="74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2F218A-F783-D7AA-07FA-8006BACE6B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084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55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rimson Pro" pitchFamily="2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2DC2B-E18E-B009-F30D-A7602E61C5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4DC0F0A-149C-FCFB-7198-EE9FF8FBB2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C0F0A-149C-FCFB-7198-EE9FF8FBB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CBAF7C-92E0-6109-3802-D234338B9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ircular Layou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EEB7C4-1B22-84CE-2084-275816F71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5DBE5-F440-4DC1-86E2-EA4CF186D269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52F880A-724F-ED8A-3595-08F6636DA8DD}"/>
              </a:ext>
            </a:extLst>
          </p:cNvPr>
          <p:cNvGrpSpPr/>
          <p:nvPr/>
        </p:nvGrpSpPr>
        <p:grpSpPr>
          <a:xfrm>
            <a:off x="3728705" y="1399548"/>
            <a:ext cx="4509062" cy="4517136"/>
            <a:chOff x="3728706" y="1442658"/>
            <a:chExt cx="4509062" cy="451146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F158E5B-6E0D-2FAE-5105-08BC4C4E09F1}"/>
                </a:ext>
              </a:extLst>
            </p:cNvPr>
            <p:cNvSpPr>
              <a:spLocks/>
            </p:cNvSpPr>
            <p:nvPr/>
          </p:nvSpPr>
          <p:spPr>
            <a:xfrm>
              <a:off x="4326444" y="1442658"/>
              <a:ext cx="1648570" cy="1639176"/>
            </a:xfrm>
            <a:custGeom>
              <a:avLst/>
              <a:gdLst>
                <a:gd name="connsiteX0" fmla="*/ 1648570 w 1648570"/>
                <a:gd name="connsiteY0" fmla="*/ 0 h 1639176"/>
                <a:gd name="connsiteX1" fmla="*/ 1648570 w 1648570"/>
                <a:gd name="connsiteY1" fmla="*/ 1341400 h 1639176"/>
                <a:gd name="connsiteX2" fmla="*/ 1563331 w 1648570"/>
                <a:gd name="connsiteY2" fmla="*/ 1345707 h 1639176"/>
                <a:gd name="connsiteX3" fmla="*/ 1010431 w 1648570"/>
                <a:gd name="connsiteY3" fmla="*/ 1608908 h 1639176"/>
                <a:gd name="connsiteX4" fmla="*/ 985476 w 1648570"/>
                <a:gd name="connsiteY4" fmla="*/ 1639176 h 1639176"/>
                <a:gd name="connsiteX5" fmla="*/ 0 w 1648570"/>
                <a:gd name="connsiteY5" fmla="*/ 729319 h 1639176"/>
                <a:gd name="connsiteX6" fmla="*/ 62598 w 1648570"/>
                <a:gd name="connsiteY6" fmla="*/ 660394 h 1639176"/>
                <a:gd name="connsiteX7" fmla="*/ 1426279 w 1648570"/>
                <a:gd name="connsiteY7" fmla="*/ 11232 h 1639176"/>
                <a:gd name="connsiteX8" fmla="*/ 1648570 w 1648570"/>
                <a:gd name="connsiteY8" fmla="*/ 0 h 163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8570" h="1639176">
                  <a:moveTo>
                    <a:pt x="1648570" y="0"/>
                  </a:moveTo>
                  <a:lnTo>
                    <a:pt x="1648570" y="1341400"/>
                  </a:lnTo>
                  <a:lnTo>
                    <a:pt x="1563331" y="1345707"/>
                  </a:lnTo>
                  <a:cubicBezTo>
                    <a:pt x="1348228" y="1367568"/>
                    <a:pt x="1155172" y="1464063"/>
                    <a:pt x="1010431" y="1608908"/>
                  </a:cubicBezTo>
                  <a:lnTo>
                    <a:pt x="985476" y="1639176"/>
                  </a:lnTo>
                  <a:lnTo>
                    <a:pt x="0" y="729319"/>
                  </a:lnTo>
                  <a:lnTo>
                    <a:pt x="62598" y="660394"/>
                  </a:lnTo>
                  <a:cubicBezTo>
                    <a:pt x="419589" y="303147"/>
                    <a:pt x="895744" y="65150"/>
                    <a:pt x="1426279" y="11232"/>
                  </a:cubicBezTo>
                  <a:lnTo>
                    <a:pt x="164857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2620F63-FEEE-5C47-E019-F472A54F52CD}"/>
                </a:ext>
              </a:extLst>
            </p:cNvPr>
            <p:cNvSpPr>
              <a:spLocks/>
            </p:cNvSpPr>
            <p:nvPr/>
          </p:nvSpPr>
          <p:spPr>
            <a:xfrm>
              <a:off x="5991460" y="1442659"/>
              <a:ext cx="1700210" cy="1700307"/>
            </a:xfrm>
            <a:custGeom>
              <a:avLst/>
              <a:gdLst>
                <a:gd name="connsiteX0" fmla="*/ 0 w 1700210"/>
                <a:gd name="connsiteY0" fmla="*/ 0 h 1700307"/>
                <a:gd name="connsiteX1" fmla="*/ 222289 w 1700210"/>
                <a:gd name="connsiteY1" fmla="*/ 11232 h 1700307"/>
                <a:gd name="connsiteX2" fmla="*/ 1585970 w 1700210"/>
                <a:gd name="connsiteY2" fmla="*/ 660394 h 1700307"/>
                <a:gd name="connsiteX3" fmla="*/ 1700210 w 1700210"/>
                <a:gd name="connsiteY3" fmla="*/ 786180 h 1700307"/>
                <a:gd name="connsiteX4" fmla="*/ 713494 w 1700210"/>
                <a:gd name="connsiteY4" fmla="*/ 1700307 h 1700307"/>
                <a:gd name="connsiteX5" fmla="*/ 638137 w 1700210"/>
                <a:gd name="connsiteY5" fmla="*/ 1608908 h 1700307"/>
                <a:gd name="connsiteX6" fmla="*/ 85237 w 1700210"/>
                <a:gd name="connsiteY6" fmla="*/ 1345707 h 1700307"/>
                <a:gd name="connsiteX7" fmla="*/ 0 w 1700210"/>
                <a:gd name="connsiteY7" fmla="*/ 1341400 h 1700307"/>
                <a:gd name="connsiteX8" fmla="*/ 0 w 1700210"/>
                <a:gd name="connsiteY8" fmla="*/ 0 h 1700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0210" h="1700307">
                  <a:moveTo>
                    <a:pt x="0" y="0"/>
                  </a:moveTo>
                  <a:lnTo>
                    <a:pt x="222289" y="11232"/>
                  </a:lnTo>
                  <a:cubicBezTo>
                    <a:pt x="752824" y="65150"/>
                    <a:pt x="1228979" y="303147"/>
                    <a:pt x="1585970" y="660394"/>
                  </a:cubicBezTo>
                  <a:lnTo>
                    <a:pt x="1700210" y="786180"/>
                  </a:lnTo>
                  <a:lnTo>
                    <a:pt x="713494" y="1700307"/>
                  </a:lnTo>
                  <a:lnTo>
                    <a:pt x="638137" y="1608908"/>
                  </a:lnTo>
                  <a:cubicBezTo>
                    <a:pt x="493396" y="1464063"/>
                    <a:pt x="300340" y="1367568"/>
                    <a:pt x="85237" y="1345707"/>
                  </a:cubicBezTo>
                  <a:lnTo>
                    <a:pt x="0" y="1341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98A6DA4-31D1-275E-2993-1225B449E415}"/>
                </a:ext>
              </a:extLst>
            </p:cNvPr>
            <p:cNvSpPr>
              <a:spLocks/>
            </p:cNvSpPr>
            <p:nvPr/>
          </p:nvSpPr>
          <p:spPr>
            <a:xfrm>
              <a:off x="3728706" y="2184152"/>
              <a:ext cx="1572737" cy="1559542"/>
            </a:xfrm>
            <a:custGeom>
              <a:avLst/>
              <a:gdLst>
                <a:gd name="connsiteX0" fmla="*/ 586682 w 1572737"/>
                <a:gd name="connsiteY0" fmla="*/ 0 h 1559542"/>
                <a:gd name="connsiteX1" fmla="*/ 1572737 w 1572737"/>
                <a:gd name="connsiteY1" fmla="*/ 910391 h 1559542"/>
                <a:gd name="connsiteX2" fmla="*/ 1496552 w 1572737"/>
                <a:gd name="connsiteY2" fmla="*/ 1002794 h 1559542"/>
                <a:gd name="connsiteX3" fmla="*/ 1340439 w 1572737"/>
                <a:gd name="connsiteY3" fmla="*/ 1514238 h 1559542"/>
                <a:gd name="connsiteX4" fmla="*/ 1342725 w 1572737"/>
                <a:gd name="connsiteY4" fmla="*/ 1559542 h 1559542"/>
                <a:gd name="connsiteX5" fmla="*/ 2286 w 1572737"/>
                <a:gd name="connsiteY5" fmla="*/ 1559542 h 1559542"/>
                <a:gd name="connsiteX6" fmla="*/ 0 w 1572737"/>
                <a:gd name="connsiteY6" fmla="*/ 1514238 h 1559542"/>
                <a:gd name="connsiteX7" fmla="*/ 514825 w 1572737"/>
                <a:gd name="connsiteY7" fmla="*/ 79118 h 1559542"/>
                <a:gd name="connsiteX8" fmla="*/ 586682 w 1572737"/>
                <a:gd name="connsiteY8" fmla="*/ 0 h 155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737" h="1559542">
                  <a:moveTo>
                    <a:pt x="586682" y="0"/>
                  </a:moveTo>
                  <a:lnTo>
                    <a:pt x="1572737" y="910391"/>
                  </a:lnTo>
                  <a:lnTo>
                    <a:pt x="1496552" y="1002794"/>
                  </a:lnTo>
                  <a:cubicBezTo>
                    <a:pt x="1397990" y="1148789"/>
                    <a:pt x="1340439" y="1324788"/>
                    <a:pt x="1340439" y="1514238"/>
                  </a:cubicBezTo>
                  <a:lnTo>
                    <a:pt x="1342725" y="1559542"/>
                  </a:lnTo>
                  <a:lnTo>
                    <a:pt x="2286" y="1559542"/>
                  </a:lnTo>
                  <a:lnTo>
                    <a:pt x="0" y="1514238"/>
                  </a:lnTo>
                  <a:cubicBezTo>
                    <a:pt x="0" y="969097"/>
                    <a:pt x="193203" y="469114"/>
                    <a:pt x="514825" y="79118"/>
                  </a:cubicBezTo>
                  <a:lnTo>
                    <a:pt x="586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E55FEDF-BFF0-8153-5ECE-D8984CADCB79}"/>
                </a:ext>
              </a:extLst>
            </p:cNvPr>
            <p:cNvSpPr>
              <a:spLocks/>
            </p:cNvSpPr>
            <p:nvPr/>
          </p:nvSpPr>
          <p:spPr>
            <a:xfrm>
              <a:off x="6651513" y="2241014"/>
              <a:ext cx="1586255" cy="2987323"/>
            </a:xfrm>
            <a:custGeom>
              <a:avLst/>
              <a:gdLst>
                <a:gd name="connsiteX0" fmla="*/ 1051216 w 1586255"/>
                <a:gd name="connsiteY0" fmla="*/ 0 h 2987323"/>
                <a:gd name="connsiteX1" fmla="*/ 1071430 w 1586255"/>
                <a:gd name="connsiteY1" fmla="*/ 22257 h 2987323"/>
                <a:gd name="connsiteX2" fmla="*/ 1586255 w 1586255"/>
                <a:gd name="connsiteY2" fmla="*/ 1457377 h 2987323"/>
                <a:gd name="connsiteX3" fmla="*/ 1071430 w 1586255"/>
                <a:gd name="connsiteY3" fmla="*/ 2892497 h 2987323"/>
                <a:gd name="connsiteX4" fmla="*/ 985309 w 1586255"/>
                <a:gd name="connsiteY4" fmla="*/ 2987323 h 2987323"/>
                <a:gd name="connsiteX5" fmla="*/ 0 w 1586255"/>
                <a:gd name="connsiteY5" fmla="*/ 2077621 h 2987323"/>
                <a:gd name="connsiteX6" fmla="*/ 89703 w 1586255"/>
                <a:gd name="connsiteY6" fmla="*/ 1968821 h 2987323"/>
                <a:gd name="connsiteX7" fmla="*/ 245816 w 1586255"/>
                <a:gd name="connsiteY7" fmla="*/ 1457377 h 2987323"/>
                <a:gd name="connsiteX8" fmla="*/ 89703 w 1586255"/>
                <a:gd name="connsiteY8" fmla="*/ 945933 h 2987323"/>
                <a:gd name="connsiteX9" fmla="*/ 63922 w 1586255"/>
                <a:gd name="connsiteY9" fmla="*/ 914663 h 2987323"/>
                <a:gd name="connsiteX10" fmla="*/ 1051216 w 1586255"/>
                <a:gd name="connsiteY10" fmla="*/ 0 h 298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86255" h="2987323">
                  <a:moveTo>
                    <a:pt x="1051216" y="0"/>
                  </a:moveTo>
                  <a:lnTo>
                    <a:pt x="1071430" y="22257"/>
                  </a:lnTo>
                  <a:cubicBezTo>
                    <a:pt x="1393052" y="412253"/>
                    <a:pt x="1586255" y="912236"/>
                    <a:pt x="1586255" y="1457377"/>
                  </a:cubicBezTo>
                  <a:cubicBezTo>
                    <a:pt x="1586255" y="2002518"/>
                    <a:pt x="1393052" y="2502501"/>
                    <a:pt x="1071430" y="2892497"/>
                  </a:cubicBezTo>
                  <a:lnTo>
                    <a:pt x="985309" y="2987323"/>
                  </a:lnTo>
                  <a:lnTo>
                    <a:pt x="0" y="2077621"/>
                  </a:lnTo>
                  <a:lnTo>
                    <a:pt x="89703" y="1968821"/>
                  </a:lnTo>
                  <a:cubicBezTo>
                    <a:pt x="188265" y="1822827"/>
                    <a:pt x="245816" y="1646828"/>
                    <a:pt x="245816" y="1457377"/>
                  </a:cubicBezTo>
                  <a:cubicBezTo>
                    <a:pt x="245816" y="1267927"/>
                    <a:pt x="188265" y="1091928"/>
                    <a:pt x="89703" y="945933"/>
                  </a:cubicBezTo>
                  <a:lnTo>
                    <a:pt x="63922" y="914663"/>
                  </a:lnTo>
                  <a:lnTo>
                    <a:pt x="1051216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2FB1685-773D-8637-1EAF-B2634F971C8C}"/>
                </a:ext>
              </a:extLst>
            </p:cNvPr>
            <p:cNvSpPr>
              <a:spLocks/>
            </p:cNvSpPr>
            <p:nvPr/>
          </p:nvSpPr>
          <p:spPr>
            <a:xfrm>
              <a:off x="3731822" y="3760140"/>
              <a:ext cx="1642259" cy="1530752"/>
            </a:xfrm>
            <a:custGeom>
              <a:avLst/>
              <a:gdLst>
                <a:gd name="connsiteX0" fmla="*/ 0 w 1642259"/>
                <a:gd name="connsiteY0" fmla="*/ 0 h 1530752"/>
                <a:gd name="connsiteX1" fmla="*/ 1340439 w 1642259"/>
                <a:gd name="connsiteY1" fmla="*/ 0 h 1530752"/>
                <a:gd name="connsiteX2" fmla="*/ 1342042 w 1642259"/>
                <a:gd name="connsiteY2" fmla="*/ 31778 h 1530752"/>
                <a:gd name="connsiteX3" fmla="*/ 1605054 w 1642259"/>
                <a:gd name="connsiteY3" fmla="*/ 585074 h 1530752"/>
                <a:gd name="connsiteX4" fmla="*/ 1642259 w 1642259"/>
                <a:gd name="connsiteY4" fmla="*/ 615793 h 1530752"/>
                <a:gd name="connsiteX5" fmla="*/ 654646 w 1642259"/>
                <a:gd name="connsiteY5" fmla="*/ 1530752 h 1530752"/>
                <a:gd name="connsiteX6" fmla="*/ 511709 w 1642259"/>
                <a:gd name="connsiteY6" fmla="*/ 1373370 h 1530752"/>
                <a:gd name="connsiteX7" fmla="*/ 8524 w 1642259"/>
                <a:gd name="connsiteY7" fmla="*/ 168928 h 1530752"/>
                <a:gd name="connsiteX8" fmla="*/ 0 w 1642259"/>
                <a:gd name="connsiteY8" fmla="*/ 0 h 153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2259" h="1530752">
                  <a:moveTo>
                    <a:pt x="0" y="0"/>
                  </a:moveTo>
                  <a:lnTo>
                    <a:pt x="1340439" y="0"/>
                  </a:lnTo>
                  <a:lnTo>
                    <a:pt x="1342042" y="31778"/>
                  </a:lnTo>
                  <a:cubicBezTo>
                    <a:pt x="1363888" y="247036"/>
                    <a:pt x="1460314" y="440230"/>
                    <a:pt x="1605054" y="585074"/>
                  </a:cubicBezTo>
                  <a:lnTo>
                    <a:pt x="1642259" y="615793"/>
                  </a:lnTo>
                  <a:lnTo>
                    <a:pt x="654646" y="1530752"/>
                  </a:lnTo>
                  <a:lnTo>
                    <a:pt x="511709" y="1373370"/>
                  </a:lnTo>
                  <a:cubicBezTo>
                    <a:pt x="236033" y="1039088"/>
                    <a:pt x="54706" y="623999"/>
                    <a:pt x="8524" y="1689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47483B3-6A90-07D1-D46D-BA238F36CC09}"/>
                </a:ext>
              </a:extLst>
            </p:cNvPr>
            <p:cNvSpPr>
              <a:spLocks/>
            </p:cNvSpPr>
            <p:nvPr/>
          </p:nvSpPr>
          <p:spPr>
            <a:xfrm>
              <a:off x="5991461" y="4331343"/>
              <a:ext cx="1634303" cy="1622780"/>
            </a:xfrm>
            <a:custGeom>
              <a:avLst/>
              <a:gdLst>
                <a:gd name="connsiteX0" fmla="*/ 649574 w 1634303"/>
                <a:gd name="connsiteY0" fmla="*/ 0 h 1622780"/>
                <a:gd name="connsiteX1" fmla="*/ 1634303 w 1634303"/>
                <a:gd name="connsiteY1" fmla="*/ 909168 h 1622780"/>
                <a:gd name="connsiteX2" fmla="*/ 1585970 w 1634303"/>
                <a:gd name="connsiteY2" fmla="*/ 962385 h 1622780"/>
                <a:gd name="connsiteX3" fmla="*/ 222289 w 1634303"/>
                <a:gd name="connsiteY3" fmla="*/ 1611547 h 1622780"/>
                <a:gd name="connsiteX4" fmla="*/ 0 w 1634303"/>
                <a:gd name="connsiteY4" fmla="*/ 1622780 h 1622780"/>
                <a:gd name="connsiteX5" fmla="*/ 0 w 1634303"/>
                <a:gd name="connsiteY5" fmla="*/ 281380 h 1622780"/>
                <a:gd name="connsiteX6" fmla="*/ 85237 w 1634303"/>
                <a:gd name="connsiteY6" fmla="*/ 277072 h 1622780"/>
                <a:gd name="connsiteX7" fmla="*/ 638137 w 1634303"/>
                <a:gd name="connsiteY7" fmla="*/ 13871 h 1622780"/>
                <a:gd name="connsiteX8" fmla="*/ 649574 w 1634303"/>
                <a:gd name="connsiteY8" fmla="*/ 0 h 16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303" h="1622780">
                  <a:moveTo>
                    <a:pt x="649574" y="0"/>
                  </a:moveTo>
                  <a:lnTo>
                    <a:pt x="1634303" y="909168"/>
                  </a:lnTo>
                  <a:lnTo>
                    <a:pt x="1585970" y="962385"/>
                  </a:lnTo>
                  <a:cubicBezTo>
                    <a:pt x="1228979" y="1319632"/>
                    <a:pt x="752824" y="1557630"/>
                    <a:pt x="222289" y="1611547"/>
                  </a:cubicBezTo>
                  <a:lnTo>
                    <a:pt x="0" y="1622780"/>
                  </a:lnTo>
                  <a:lnTo>
                    <a:pt x="0" y="281380"/>
                  </a:lnTo>
                  <a:lnTo>
                    <a:pt x="85237" y="277072"/>
                  </a:lnTo>
                  <a:cubicBezTo>
                    <a:pt x="300340" y="255212"/>
                    <a:pt x="493396" y="158716"/>
                    <a:pt x="638137" y="13871"/>
                  </a:cubicBezTo>
                  <a:lnTo>
                    <a:pt x="6495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3A9C7BB-C125-6459-77CB-5AC18524C287}"/>
                </a:ext>
              </a:extLst>
            </p:cNvPr>
            <p:cNvSpPr>
              <a:spLocks/>
            </p:cNvSpPr>
            <p:nvPr/>
          </p:nvSpPr>
          <p:spPr>
            <a:xfrm>
              <a:off x="4398410" y="4386499"/>
              <a:ext cx="1576605" cy="1567625"/>
            </a:xfrm>
            <a:custGeom>
              <a:avLst/>
              <a:gdLst>
                <a:gd name="connsiteX0" fmla="*/ 988467 w 1576605"/>
                <a:gd name="connsiteY0" fmla="*/ 0 h 1567625"/>
                <a:gd name="connsiteX1" fmla="*/ 1073750 w 1576605"/>
                <a:gd name="connsiteY1" fmla="*/ 70415 h 1567625"/>
                <a:gd name="connsiteX2" fmla="*/ 1491366 w 1576605"/>
                <a:gd name="connsiteY2" fmla="*/ 221917 h 1567625"/>
                <a:gd name="connsiteX3" fmla="*/ 1576605 w 1576605"/>
                <a:gd name="connsiteY3" fmla="*/ 226225 h 1567625"/>
                <a:gd name="connsiteX4" fmla="*/ 1576605 w 1576605"/>
                <a:gd name="connsiteY4" fmla="*/ 1567625 h 1567625"/>
                <a:gd name="connsiteX5" fmla="*/ 1354314 w 1576605"/>
                <a:gd name="connsiteY5" fmla="*/ 1556392 h 1567625"/>
                <a:gd name="connsiteX6" fmla="*/ 150736 w 1576605"/>
                <a:gd name="connsiteY6" fmla="*/ 1052845 h 1567625"/>
                <a:gd name="connsiteX7" fmla="*/ 0 w 1576605"/>
                <a:gd name="connsiteY7" fmla="*/ 915749 h 1567625"/>
                <a:gd name="connsiteX8" fmla="*/ 988467 w 1576605"/>
                <a:gd name="connsiteY8" fmla="*/ 0 h 156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605" h="1567625">
                  <a:moveTo>
                    <a:pt x="988467" y="0"/>
                  </a:moveTo>
                  <a:lnTo>
                    <a:pt x="1073750" y="70415"/>
                  </a:lnTo>
                  <a:cubicBezTo>
                    <a:pt x="1195325" y="152609"/>
                    <a:pt x="1337721" y="206303"/>
                    <a:pt x="1491366" y="221917"/>
                  </a:cubicBezTo>
                  <a:lnTo>
                    <a:pt x="1576605" y="226225"/>
                  </a:lnTo>
                  <a:lnTo>
                    <a:pt x="1576605" y="1567625"/>
                  </a:lnTo>
                  <a:lnTo>
                    <a:pt x="1354314" y="1556392"/>
                  </a:lnTo>
                  <a:cubicBezTo>
                    <a:pt x="899570" y="1510177"/>
                    <a:pt x="484778" y="1328720"/>
                    <a:pt x="150736" y="1052845"/>
                  </a:cubicBezTo>
                  <a:lnTo>
                    <a:pt x="0" y="915749"/>
                  </a:lnTo>
                  <a:lnTo>
                    <a:pt x="9884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DEEEC9D9-9C65-53DB-6FF7-34989440BA8A}"/>
              </a:ext>
            </a:extLst>
          </p:cNvPr>
          <p:cNvSpPr/>
          <p:nvPr/>
        </p:nvSpPr>
        <p:spPr>
          <a:xfrm>
            <a:off x="7666097" y="31315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48B103-1564-4DC4-FAF5-6DEC510AC13B}"/>
              </a:ext>
            </a:extLst>
          </p:cNvPr>
          <p:cNvSpPr/>
          <p:nvPr/>
        </p:nvSpPr>
        <p:spPr>
          <a:xfrm>
            <a:off x="3341747" y="24076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5605FE2-FBC7-9828-7A38-4F1F99BD3C73}"/>
              </a:ext>
            </a:extLst>
          </p:cNvPr>
          <p:cNvSpPr/>
          <p:nvPr/>
        </p:nvSpPr>
        <p:spPr>
          <a:xfrm>
            <a:off x="3227447" y="4103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E361072-3EFC-2274-2AE0-0A7E6FADAA98}"/>
              </a:ext>
            </a:extLst>
          </p:cNvPr>
          <p:cNvSpPr/>
          <p:nvPr/>
        </p:nvSpPr>
        <p:spPr>
          <a:xfrm>
            <a:off x="6484997" y="115030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17E1D8-E878-84F6-B101-F7E1C832C342}"/>
              </a:ext>
            </a:extLst>
          </p:cNvPr>
          <p:cNvSpPr/>
          <p:nvPr/>
        </p:nvSpPr>
        <p:spPr>
          <a:xfrm>
            <a:off x="4541897" y="1131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4869D4-DDAE-DE37-665A-3F868DA1EF39}"/>
              </a:ext>
            </a:extLst>
          </p:cNvPr>
          <p:cNvSpPr/>
          <p:nvPr/>
        </p:nvSpPr>
        <p:spPr>
          <a:xfrm>
            <a:off x="4675247" y="53222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A683867-8410-C333-432F-59585D441C17}"/>
              </a:ext>
            </a:extLst>
          </p:cNvPr>
          <p:cNvSpPr/>
          <p:nvPr/>
        </p:nvSpPr>
        <p:spPr>
          <a:xfrm>
            <a:off x="6389747" y="5246055"/>
            <a:ext cx="972334" cy="972334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/>
          <a:lstStyle/>
          <a:p>
            <a:pPr algn="ctr"/>
            <a:r>
              <a:rPr lang="en-IN" sz="2000" dirty="0">
                <a:solidFill>
                  <a:schemeClr val="tx1"/>
                </a:solidFill>
              </a:rPr>
              <a:t>Insert </a:t>
            </a:r>
            <a:br>
              <a:rPr lang="en-IN" sz="2000" dirty="0">
                <a:solidFill>
                  <a:schemeClr val="tx1"/>
                </a:solidFill>
              </a:rPr>
            </a:br>
            <a:r>
              <a:rPr lang="en-IN" sz="20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58074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3902"/>
      </a:accent1>
      <a:accent2>
        <a:srgbClr val="FF8007"/>
      </a:accent2>
      <a:accent3>
        <a:srgbClr val="FFB404"/>
      </a:accent3>
      <a:accent4>
        <a:srgbClr val="05BADD"/>
      </a:accent4>
      <a:accent5>
        <a:srgbClr val="2B4871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9F848E6-99A2-4036-BB67-591926DFA72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24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Crimson Pro</vt:lpstr>
      <vt:lpstr>Wingdings</vt:lpstr>
      <vt:lpstr>Office Theme</vt:lpstr>
      <vt:lpstr>think-cell Slide</vt:lpstr>
      <vt:lpstr>Circular Layou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alyst Academy LLC</dc:creator>
  <cp:keywords/>
  <dc:description/>
  <cp:lastModifiedBy>Diam Cabatay</cp:lastModifiedBy>
  <cp:revision>783</cp:revision>
  <dcterms:created xsi:type="dcterms:W3CDTF">2021-03-31T02:49:57Z</dcterms:created>
  <dcterms:modified xsi:type="dcterms:W3CDTF">2025-10-15T03:17:28Z</dcterms:modified>
  <cp:category/>
</cp:coreProperties>
</file>